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6" r:id="rId11"/>
    <p:sldId id="264" r:id="rId12"/>
    <p:sldId id="265" r:id="rId13"/>
    <p:sldId id="267" r:id="rId14"/>
  </p:sldIdLst>
  <p:sldSz cx="12192000" cy="6858000"/>
  <p:notesSz cx="7102475" cy="93884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BE6F0"/>
    <a:srgbClr val="6DCDEA"/>
    <a:srgbClr val="3ABDF4"/>
    <a:srgbClr val="3B96B4"/>
    <a:srgbClr val="007AB0"/>
    <a:srgbClr val="014B6F"/>
    <a:srgbClr val="3996B4"/>
    <a:srgbClr val="047A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88"/>
    <p:restoredTop sz="96234"/>
  </p:normalViewPr>
  <p:slideViewPr>
    <p:cSldViewPr snapToGrid="0" snapToObjects="1">
      <p:cViewPr varScale="1">
        <p:scale>
          <a:sx n="90" d="100"/>
          <a:sy n="90" d="100"/>
        </p:scale>
        <p:origin x="232" y="9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07249434088418"/>
          <c:y val="0.28139378425237466"/>
          <c:w val="0.8552840867825342"/>
          <c:h val="0.646954676496044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10-734D-A463-8FD4AC5D4E3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10-734D-A463-8FD4AC5D4E3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10-734D-A463-8FD4AC5D4E3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0-734D-A463-8FD4AC5D4E3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B10-734D-A463-8FD4AC5D4E3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B10-734D-A463-8FD4AC5D4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1922021711"/>
        <c:axId val="2100272831"/>
      </c:barChart>
      <c:catAx>
        <c:axId val="1922021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0272831"/>
        <c:crosses val="autoZero"/>
        <c:auto val="1"/>
        <c:lblAlgn val="ctr"/>
        <c:lblOffset val="100"/>
        <c:noMultiLvlLbl val="0"/>
      </c:catAx>
      <c:valAx>
        <c:axId val="2100272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2021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0"/>
          <c:y val="0"/>
          <c:w val="0.97052353266320224"/>
          <c:h val="0.351832407392960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7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BC3-9F45-8D40-3DF5FB28C9AA}"/>
              </c:ext>
            </c:extLst>
          </c:dPt>
          <c:dPt>
            <c:idx val="1"/>
            <c:invertIfNegative val="0"/>
            <c:bubble3D val="0"/>
            <c:spPr>
              <a:solidFill>
                <a:srgbClr val="6DCDE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BC3-9F45-8D40-3DF5FB28C9AA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3-9F45-8D40-3DF5FB28C9AA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3-9F45-8D40-3DF5FB28C9AA}"/>
              </c:ext>
            </c:extLst>
          </c:dPt>
          <c:dPt>
            <c:idx val="4"/>
            <c:invertIfNegative val="0"/>
            <c:bubble3D val="0"/>
            <c:spPr>
              <a:solidFill>
                <a:srgbClr val="007AB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3-9F45-8D40-3DF5FB28C9AA}"/>
              </c:ext>
            </c:extLst>
          </c:dPt>
          <c:dPt>
            <c:idx val="5"/>
            <c:invertIfNegative val="0"/>
            <c:bubble3D val="0"/>
            <c:spPr>
              <a:solidFill>
                <a:srgbClr val="014B6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2BB-7049-85CB-FCAA24F7EDF4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BC3-9F45-8D40-3DF5FB28C9AA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</c:v>
                </c:pt>
                <c:pt idx="1">
                  <c:v>25</c:v>
                </c:pt>
                <c:pt idx="2">
                  <c:v>32</c:v>
                </c:pt>
                <c:pt idx="3">
                  <c:v>34</c:v>
                </c:pt>
                <c:pt idx="4">
                  <c:v>10</c:v>
                </c:pt>
                <c:pt idx="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3-9F45-8D40-3DF5FB28C9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6A-2A44-A313-D15F5C2859A3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6A-2A44-A313-D15F5C2859A3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6A-2A44-A313-D15F5C2859A3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6A-2A44-A313-D15F5C2859A3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6A-2A44-A313-D15F5C2859A3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C6A-2A44-A313-D15F5C2859A3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6A-2A44-A313-D15F5C285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79057416750658E-2"/>
          <c:y val="3.9945229952422188E-2"/>
          <c:w val="0.9087767894719142"/>
          <c:h val="0.926767078420559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EB-9649-97EC-4C499B1D4F37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EB-9649-97EC-4C499B1D4F37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EB-9649-97EC-4C499B1D4F37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EB-9649-97EC-4C499B1D4F37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EB-9649-97EC-4C499B1D4F37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3EB-9649-97EC-4C499B1D4F37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3EB-9649-97EC-4C499B1D4F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040953285861072"/>
          <c:y val="0"/>
          <c:w val="0.67376849683298068"/>
          <c:h val="0.926870172711432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347-5046-A6CC-60DE575D594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347-5046-A6CC-60DE575D594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347-5046-A6CC-60DE575D594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347-5046-A6CC-60DE575D594F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347-5046-A6CC-60DE575D594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3000</c:v>
                </c:pt>
                <c:pt idx="1">
                  <c:v>20005</c:v>
                </c:pt>
                <c:pt idx="2">
                  <c:v>50000</c:v>
                </c:pt>
                <c:pt idx="3">
                  <c:v>3455</c:v>
                </c:pt>
                <c:pt idx="4">
                  <c:v>77056</c:v>
                </c:pt>
                <c:pt idx="5">
                  <c:v>3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47-5046-A6CC-60DE575D5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27267296"/>
        <c:axId val="1907035439"/>
      </c:barChart>
      <c:catAx>
        <c:axId val="12726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7035439"/>
        <c:crosses val="autoZero"/>
        <c:auto val="1"/>
        <c:lblAlgn val="ctr"/>
        <c:lblOffset val="100"/>
        <c:noMultiLvlLbl val="0"/>
      </c:catAx>
      <c:valAx>
        <c:axId val="19070354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726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75-0246-ACB0-2482ADFB65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axId val="209559744"/>
        <c:axId val="209214576"/>
      </c:barChart>
      <c:catAx>
        <c:axId val="20955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214576"/>
        <c:crosses val="autoZero"/>
        <c:auto val="1"/>
        <c:lblAlgn val="ctr"/>
        <c:lblOffset val="100"/>
        <c:noMultiLvlLbl val="0"/>
      </c:catAx>
      <c:valAx>
        <c:axId val="2092145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955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BC3-9F45-8D40-3DF5FB28C9AA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BC3-9F45-8D40-3DF5FB28C9AA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3-9F45-8D40-3DF5FB28C9AA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3-9F45-8D40-3DF5FB28C9AA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3-9F45-8D40-3DF5FB28C9AA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BC3-9F45-8D40-3DF5FB28C9AA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4.3</c:v>
                </c:pt>
                <c:pt idx="1">
                  <c:v>-2.5</c:v>
                </c:pt>
                <c:pt idx="2">
                  <c:v>-3.5</c:v>
                </c:pt>
                <c:pt idx="3">
                  <c:v>-4.5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3-9F45-8D40-3DF5FB28C9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6A-2A44-A313-D15F5C2859A3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6A-2A44-A313-D15F5C2859A3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6A-2A44-A313-D15F5C2859A3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6A-2A44-A313-D15F5C2859A3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6A-2A44-A313-D15F5C2859A3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C6A-2A44-A313-D15F5C2859A3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6A-2A44-A313-D15F5C285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79057416750658E-2"/>
          <c:y val="3.9945229952422188E-2"/>
          <c:w val="0.9087767894719142"/>
          <c:h val="0.926767078420559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EB-9649-97EC-4C499B1D4F37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EB-9649-97EC-4C499B1D4F37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EB-9649-97EC-4C499B1D4F37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EB-9649-97EC-4C499B1D4F37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EB-9649-97EC-4C499B1D4F37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3EB-9649-97EC-4C499B1D4F37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3EB-9649-97EC-4C499B1D4F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BC3-9F45-8D40-3DF5FB28C9AA}"/>
              </c:ext>
            </c:extLst>
          </c:dPt>
          <c:dPt>
            <c:idx val="1"/>
            <c:invertIfNegative val="0"/>
            <c:bubble3D val="0"/>
            <c:spPr>
              <a:solidFill>
                <a:srgbClr val="6DCDE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BC3-9F45-8D40-3DF5FB28C9AA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3-9F45-8D40-3DF5FB28C9AA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3-9F45-8D40-3DF5FB28C9AA}"/>
              </c:ext>
            </c:extLst>
          </c:dPt>
          <c:dPt>
            <c:idx val="4"/>
            <c:invertIfNegative val="0"/>
            <c:bubble3D val="0"/>
            <c:spPr>
              <a:solidFill>
                <a:srgbClr val="007AB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3-9F45-8D40-3DF5FB28C9AA}"/>
              </c:ext>
            </c:extLst>
          </c:dPt>
          <c:dPt>
            <c:idx val="5"/>
            <c:invertIfNegative val="0"/>
            <c:bubble3D val="0"/>
            <c:spPr>
              <a:solidFill>
                <a:srgbClr val="014B6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2BB-7049-85CB-FCAA24F7EDF4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BC3-9F45-8D40-3DF5FB28C9AA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</c:v>
                </c:pt>
                <c:pt idx="1">
                  <c:v>25</c:v>
                </c:pt>
                <c:pt idx="2">
                  <c:v>32</c:v>
                </c:pt>
                <c:pt idx="3">
                  <c:v>34</c:v>
                </c:pt>
                <c:pt idx="4">
                  <c:v>10</c:v>
                </c:pt>
                <c:pt idx="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3-9F45-8D40-3DF5FB28C9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6A-2A44-A313-D15F5C2859A3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6A-2A44-A313-D15F5C2859A3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6A-2A44-A313-D15F5C2859A3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6A-2A44-A313-D15F5C2859A3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6A-2A44-A313-D15F5C2859A3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C6A-2A44-A313-D15F5C2859A3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6A-2A44-A313-D15F5C285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79057416750658E-2"/>
          <c:y val="3.9945229952422188E-2"/>
          <c:w val="0.9087767894719142"/>
          <c:h val="0.926767078420559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BE6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EB-9649-97EC-4C499B1D4F37}"/>
              </c:ext>
            </c:extLst>
          </c:dPt>
          <c:dPt>
            <c:idx val="1"/>
            <c:invertIfNegative val="0"/>
            <c:bubble3D val="0"/>
            <c:spPr>
              <a:solidFill>
                <a:srgbClr val="39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EB-9649-97EC-4C499B1D4F37}"/>
              </c:ext>
            </c:extLst>
          </c:dPt>
          <c:dPt>
            <c:idx val="2"/>
            <c:invertIfNegative val="0"/>
            <c:bubble3D val="0"/>
            <c:spPr>
              <a:solidFill>
                <a:srgbClr val="3ABDF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EB-9649-97EC-4C499B1D4F37}"/>
              </c:ext>
            </c:extLst>
          </c:dPt>
          <c:dPt>
            <c:idx val="3"/>
            <c:invertIfNegative val="0"/>
            <c:bubble3D val="0"/>
            <c:spPr>
              <a:solidFill>
                <a:srgbClr val="3B96B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EB-9649-97EC-4C499B1D4F37}"/>
              </c:ext>
            </c:extLst>
          </c:dPt>
          <c:dPt>
            <c:idx val="4"/>
            <c:invertIfNegative val="0"/>
            <c:bubble3D val="0"/>
            <c:spPr>
              <a:solidFill>
                <a:srgbClr val="047AB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EB-9649-97EC-4C499B1D4F37}"/>
              </c:ext>
            </c:extLst>
          </c:dPt>
          <c:dLbls>
            <c:dLbl>
              <c:idx val="4"/>
              <c:numFmt formatCode="#,##0&quot;%&quot;;&quot;-&quot;#,##0&quot;%&quot;;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3EB-9649-97EC-4C499B1D4F37}"/>
                </c:ext>
              </c:extLst>
            </c:dLbl>
            <c:numFmt formatCode="#,##0&quot;%&quot;;&quot;-&quot;#,##0&quot;%&quot;;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5</c:v>
                </c:pt>
                <c:pt idx="5">
                  <c:v>Category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-2.5</c:v>
                </c:pt>
                <c:pt idx="2">
                  <c:v>2</c:v>
                </c:pt>
                <c:pt idx="3">
                  <c:v>4</c:v>
                </c:pt>
                <c:pt idx="4">
                  <c:v>0</c:v>
                </c:pt>
                <c:pt idx="5">
                  <c:v>-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3EB-9649-97EC-4C499B1D4F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26"/>
        <c:axId val="2134318831"/>
        <c:axId val="2001301823"/>
      </c:barChart>
      <c:catAx>
        <c:axId val="2134318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301823"/>
        <c:crosses val="autoZero"/>
        <c:auto val="1"/>
        <c:lblAlgn val="ctr"/>
        <c:lblOffset val="100"/>
        <c:tickLblSkip val="1"/>
        <c:noMultiLvlLbl val="0"/>
      </c:catAx>
      <c:valAx>
        <c:axId val="20013018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34318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7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5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5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GB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chart" Target="../charts/chart3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chart" Target="../charts/chart6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7" Type="http://schemas.openxmlformats.org/officeDocument/2006/relationships/chart" Target="../charts/chart9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chart" Target="../charts/chart12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2.xml"/><Relationship Id="rId1" Type="http://schemas.openxmlformats.org/officeDocument/2006/relationships/tags" Target="../tags/tag3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50DAB3EA-DCAB-E0BC-25D6-35423B376E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DF32F1-AADA-1673-BAC1-6EE9A4C678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2927E80-F93B-040D-A1E9-9D56EC8341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EC08FD-7261-E285-DF93-FD92DD6CA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ales2.0 platform ppt</a:t>
            </a:r>
          </a:p>
        </p:txBody>
      </p:sp>
    </p:spTree>
    <p:extLst>
      <p:ext uri="{BB962C8B-B14F-4D97-AF65-F5344CB8AC3E}">
        <p14:creationId xmlns:p14="http://schemas.microsoft.com/office/powerpoint/2010/main" val="11545163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E1CF7-AEEF-D2BC-ADCF-8B42B9D1F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E3FAB3E-D560-EE94-13A7-D8E6664F56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ustomer lifecycle management">
            <a:extLst>
              <a:ext uri="{FF2B5EF4-FFF2-40B4-BE49-F238E27FC236}">
                <a16:creationId xmlns:a16="http://schemas.microsoft.com/office/drawing/2014/main" id="{AEB4D5DA-BDC3-D59D-C470-FDC374716B96}"/>
              </a:ext>
            </a:extLst>
          </p:cNvPr>
          <p:cNvSpPr txBox="1">
            <a:spLocks/>
          </p:cNvSpPr>
          <p:nvPr/>
        </p:nvSpPr>
        <p:spPr>
          <a:xfrm>
            <a:off x="554736" y="1505789"/>
            <a:ext cx="11082528" cy="2462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ustomer lifecycle managemen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537271B-39DC-F007-C4F7-CA67CAFD45CB}"/>
              </a:ext>
            </a:extLst>
          </p:cNvPr>
          <p:cNvCxnSpPr>
            <a:cxnSpLocks/>
          </p:cNvCxnSpPr>
          <p:nvPr/>
        </p:nvCxnSpPr>
        <p:spPr>
          <a:xfrm>
            <a:off x="554736" y="1790881"/>
            <a:ext cx="11082528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op Use Cases">
            <a:extLst>
              <a:ext uri="{FF2B5EF4-FFF2-40B4-BE49-F238E27FC236}">
                <a16:creationId xmlns:a16="http://schemas.microsoft.com/office/drawing/2014/main" id="{372F1D8B-FC8C-A790-B643-7084A5C718EB}"/>
              </a:ext>
            </a:extLst>
          </p:cNvPr>
          <p:cNvSpPr txBox="1">
            <a:spLocks/>
          </p:cNvSpPr>
          <p:nvPr/>
        </p:nvSpPr>
        <p:spPr>
          <a:xfrm>
            <a:off x="554736" y="1880896"/>
            <a:ext cx="3498637" cy="215444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p Use Cas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D4AEB8-F3B3-6B5A-566A-6F6B81EFD29B}"/>
              </a:ext>
            </a:extLst>
          </p:cNvPr>
          <p:cNvSpPr txBox="1"/>
          <p:nvPr/>
        </p:nvSpPr>
        <p:spPr>
          <a:xfrm>
            <a:off x="4328614" y="1877902"/>
            <a:ext cx="3125193" cy="30777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mpact Metric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9ED334C-1052-7276-EF92-E066AF2C0688}"/>
              </a:ext>
            </a:extLst>
          </p:cNvPr>
          <p:cNvCxnSpPr>
            <a:cxnSpLocks/>
          </p:cNvCxnSpPr>
          <p:nvPr/>
        </p:nvCxnSpPr>
        <p:spPr>
          <a:xfrm>
            <a:off x="554736" y="2133010"/>
            <a:ext cx="11082528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1F4F9DD-FED5-EB8C-0A03-A9AF0268034F}"/>
              </a:ext>
            </a:extLst>
          </p:cNvPr>
          <p:cNvSpPr txBox="1"/>
          <p:nvPr/>
        </p:nvSpPr>
        <p:spPr>
          <a:xfrm>
            <a:off x="7974225" y="1825232"/>
            <a:ext cx="2816772" cy="30777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p Exper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2ACB26-A349-3A97-E7D8-5C077BA9212A}"/>
              </a:ext>
            </a:extLst>
          </p:cNvPr>
          <p:cNvCxnSpPr>
            <a:cxnSpLocks/>
          </p:cNvCxnSpPr>
          <p:nvPr/>
        </p:nvCxnSpPr>
        <p:spPr>
          <a:xfrm flipH="1">
            <a:off x="4311188" y="2196510"/>
            <a:ext cx="17426" cy="3193182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07FF91-E5D9-2010-C462-5F33F8D2DB03}"/>
              </a:ext>
            </a:extLst>
          </p:cNvPr>
          <p:cNvCxnSpPr>
            <a:cxnSpLocks/>
          </p:cNvCxnSpPr>
          <p:nvPr/>
        </p:nvCxnSpPr>
        <p:spPr>
          <a:xfrm flipH="1">
            <a:off x="7956798" y="2133010"/>
            <a:ext cx="17428" cy="3256682"/>
          </a:xfrm>
          <a:prstGeom prst="line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1">
            <a:extLst>
              <a:ext uri="{FF2B5EF4-FFF2-40B4-BE49-F238E27FC236}">
                <a16:creationId xmlns:a16="http://schemas.microsoft.com/office/drawing/2014/main" id="{214AE175-FDF4-B92E-FE0A-B3FFC7FAC36F}"/>
              </a:ext>
            </a:extLst>
          </p:cNvPr>
          <p:cNvSpPr txBox="1"/>
          <p:nvPr/>
        </p:nvSpPr>
        <p:spPr>
          <a:xfrm>
            <a:off x="554737" y="2196509"/>
            <a:ext cx="3756451" cy="184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resented in high to low degree of importance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AI/ML analytics suite for customized offerings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Customer lifetime value based personalization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Integrated customer data lake for creating customer personas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Lead generation based on client profile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anaging customers at risk of chum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obile banking experience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revent customer defaults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rotect customer loyalty through a holistic retention program and dedicated execution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capabilties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sym typeface=""/>
            </a:endParaRPr>
          </a:p>
        </p:txBody>
      </p:sp>
      <p:sp>
        <p:nvSpPr>
          <p:cNvPr id="22" name="Text 2">
            <a:extLst>
              <a:ext uri="{FF2B5EF4-FFF2-40B4-BE49-F238E27FC236}">
                <a16:creationId xmlns:a16="http://schemas.microsoft.com/office/drawing/2014/main" id="{39B20DE5-E68C-214E-28A8-BD172E04E301}"/>
              </a:ext>
            </a:extLst>
          </p:cNvPr>
          <p:cNvSpPr txBox="1">
            <a:spLocks/>
          </p:cNvSpPr>
          <p:nvPr/>
        </p:nvSpPr>
        <p:spPr>
          <a:xfrm>
            <a:off x="4457699" y="2196511"/>
            <a:ext cx="3499099" cy="5386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e in avg. revenue per customer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e in customer lifetime value capture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e in avg. customer satisfaction</a:t>
            </a:r>
          </a:p>
        </p:txBody>
      </p:sp>
      <p:sp>
        <p:nvSpPr>
          <p:cNvPr id="25" name="Text 3">
            <a:extLst>
              <a:ext uri="{FF2B5EF4-FFF2-40B4-BE49-F238E27FC236}">
                <a16:creationId xmlns:a16="http://schemas.microsoft.com/office/drawing/2014/main" id="{C2766910-8CE3-8B1D-73E0-DC8A61744C71}"/>
              </a:ext>
            </a:extLst>
          </p:cNvPr>
          <p:cNvSpPr txBox="1">
            <a:spLocks/>
          </p:cNvSpPr>
          <p:nvPr/>
        </p:nvSpPr>
        <p:spPr>
          <a:xfrm>
            <a:off x="4457523" y="3474022"/>
            <a:ext cx="3387795" cy="11156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gacy Modernization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bile UI/UX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ig Data/analytics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I/ML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oud (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a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)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yber Security</a:t>
            </a:r>
          </a:p>
        </p:txBody>
      </p:sp>
      <p:sp>
        <p:nvSpPr>
          <p:cNvPr id="26" name="Text 4">
            <a:extLst>
              <a:ext uri="{FF2B5EF4-FFF2-40B4-BE49-F238E27FC236}">
                <a16:creationId xmlns:a16="http://schemas.microsoft.com/office/drawing/2014/main" id="{FD364330-FC8A-7E58-4753-3445EC973760}"/>
              </a:ext>
            </a:extLst>
          </p:cNvPr>
          <p:cNvSpPr txBox="1"/>
          <p:nvPr/>
        </p:nvSpPr>
        <p:spPr>
          <a:xfrm>
            <a:off x="8138628" y="2196510"/>
            <a:ext cx="3498637" cy="3193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aul </a:t>
            </a:r>
            <a:r>
              <a:rPr lang="en-US" sz="1000" b="1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cCarroll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 Relevant </a:t>
            </a:r>
            <a:r>
              <a:rPr lang="en-US" sz="1000" b="1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StakeHolder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sym typeface=""/>
            </a:endParaRP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Chief Information Officer &amp; Head of Operations and Technology Risk management, Asia Pacific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Vik Atal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Ex-Chairman Citi Cards, Board member Goldman Sachs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Aditya Meno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Ex-Digital strategy head, Citibank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Leila Nichola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Former Global Head of Digital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Programme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 Delivery, HSBC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Douglas </a:t>
            </a:r>
            <a:r>
              <a:rPr lang="en-US" sz="1000" b="1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Raymon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sym typeface=""/>
            </a:endParaRP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Former SVP, Mastercard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Edmond Ja</a:t>
            </a: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Former EVP, Merchant Services Americas at Amex</a:t>
            </a:r>
          </a:p>
          <a:p>
            <a:pPr>
              <a:buSzPct val="100000"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Mark </a:t>
            </a:r>
            <a:r>
              <a:rPr lang="en-US" sz="1000" b="1" dirty="0" err="1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Gaylor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sym typeface=""/>
            </a:endParaRPr>
          </a:p>
          <a:p>
            <a:pPr lvl="1">
              <a:buSzPct val="100000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Former Global head IT &amp; Strategic Initiative, JP Morgan</a:t>
            </a:r>
          </a:p>
        </p:txBody>
      </p:sp>
      <p:sp>
        <p:nvSpPr>
          <p:cNvPr id="29" name="Text 5">
            <a:extLst>
              <a:ext uri="{FF2B5EF4-FFF2-40B4-BE49-F238E27FC236}">
                <a16:creationId xmlns:a16="http://schemas.microsoft.com/office/drawing/2014/main" id="{29DA496F-DB90-8F96-74B6-59EB6C7190D5}"/>
              </a:ext>
            </a:extLst>
          </p:cNvPr>
          <p:cNvSpPr txBox="1">
            <a:spLocks/>
          </p:cNvSpPr>
          <p:nvPr/>
        </p:nvSpPr>
        <p:spPr>
          <a:xfrm>
            <a:off x="554736" y="5610852"/>
            <a:ext cx="11082528" cy="4078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st Deals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ajor Deals by Peer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174CA79-3DA0-29CE-6D84-34E191ECFFEA}"/>
              </a:ext>
            </a:extLst>
          </p:cNvPr>
          <p:cNvCxnSpPr>
            <a:cxnSpLocks/>
          </p:cNvCxnSpPr>
          <p:nvPr/>
        </p:nvCxnSpPr>
        <p:spPr>
          <a:xfrm>
            <a:off x="435673" y="5404160"/>
            <a:ext cx="11082528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3382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BCBD6-C342-45CF-322C-646F0BB9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C6A650E-C12D-B3EE-2F8E-7F8059D06C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8009A15-C757-424C-40C7-1F42DD875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874153"/>
              </p:ext>
            </p:extLst>
          </p:nvPr>
        </p:nvGraphicFramePr>
        <p:xfrm>
          <a:off x="554736" y="1891859"/>
          <a:ext cx="11082530" cy="542611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2216506">
                  <a:extLst>
                    <a:ext uri="{9D8B030D-6E8A-4147-A177-3AD203B41FA5}">
                      <a16:colId xmlns:a16="http://schemas.microsoft.com/office/drawing/2014/main" val="2979609656"/>
                    </a:ext>
                  </a:extLst>
                </a:gridCol>
                <a:gridCol w="2216506">
                  <a:extLst>
                    <a:ext uri="{9D8B030D-6E8A-4147-A177-3AD203B41FA5}">
                      <a16:colId xmlns:a16="http://schemas.microsoft.com/office/drawing/2014/main" val="3661980634"/>
                    </a:ext>
                  </a:extLst>
                </a:gridCol>
                <a:gridCol w="2216506">
                  <a:extLst>
                    <a:ext uri="{9D8B030D-6E8A-4147-A177-3AD203B41FA5}">
                      <a16:colId xmlns:a16="http://schemas.microsoft.com/office/drawing/2014/main" val="3092691507"/>
                    </a:ext>
                  </a:extLst>
                </a:gridCol>
                <a:gridCol w="2216506">
                  <a:extLst>
                    <a:ext uri="{9D8B030D-6E8A-4147-A177-3AD203B41FA5}">
                      <a16:colId xmlns:a16="http://schemas.microsoft.com/office/drawing/2014/main" val="3332219319"/>
                    </a:ext>
                  </a:extLst>
                </a:gridCol>
                <a:gridCol w="2216506">
                  <a:extLst>
                    <a:ext uri="{9D8B030D-6E8A-4147-A177-3AD203B41FA5}">
                      <a16:colId xmlns:a16="http://schemas.microsoft.com/office/drawing/2014/main" val="2419392205"/>
                    </a:ext>
                  </a:extLst>
                </a:gridCol>
              </a:tblGrid>
              <a:tr h="5426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Year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heme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Segoe UI" panose="020B0502040204020203" pitchFamily="34" charset="0"/>
                        <a:buChar char="​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CV ($M)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tract End Period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606650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ECD7346-4CF0-0E24-CD63-6EA2FF321FBD}"/>
              </a:ext>
            </a:extLst>
          </p:cNvPr>
          <p:cNvSpPr txBox="1"/>
          <p:nvPr/>
        </p:nvSpPr>
        <p:spPr>
          <a:xfrm>
            <a:off x="1660634" y="646386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573C5ACD-78BF-CCEA-3299-36F95AE5C8D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oardex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308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BCBD6-C342-45CF-322C-646F0BB9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C6A650E-C12D-B3EE-2F8E-7F8059D06C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8009A15-C757-424C-40C7-1F42DD875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764166"/>
              </p:ext>
            </p:extLst>
          </p:nvPr>
        </p:nvGraphicFramePr>
        <p:xfrm>
          <a:off x="554735" y="1635381"/>
          <a:ext cx="11082528" cy="542611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1847088">
                  <a:extLst>
                    <a:ext uri="{9D8B030D-6E8A-4147-A177-3AD203B41FA5}">
                      <a16:colId xmlns:a16="http://schemas.microsoft.com/office/drawing/2014/main" val="2979609656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3661980634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3092691507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3332219319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2419392205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2254412559"/>
                    </a:ext>
                  </a:extLst>
                </a:gridCol>
              </a:tblGrid>
              <a:tr h="5426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heme 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endor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TS Provider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Segoe UI" panose="020B0502040204020203" pitchFamily="34" charset="0"/>
                        <a:buChar char="​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CV ($M)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Year of deal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uration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606650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ECD7346-4CF0-0E24-CD63-6EA2FF321FBD}"/>
              </a:ext>
            </a:extLst>
          </p:cNvPr>
          <p:cNvSpPr txBox="1"/>
          <p:nvPr/>
        </p:nvSpPr>
        <p:spPr>
          <a:xfrm>
            <a:off x="1660634" y="646386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C09B2F30-09E7-2884-92A1-834DF77ACB1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Large Deals Accelerator</a:t>
            </a:r>
          </a:p>
        </p:txBody>
      </p:sp>
    </p:spTree>
    <p:extLst>
      <p:ext uri="{BB962C8B-B14F-4D97-AF65-F5344CB8AC3E}">
        <p14:creationId xmlns:p14="http://schemas.microsoft.com/office/powerpoint/2010/main" val="737896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2BEF3-5B6D-F81B-334A-86A99DCE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Danske Bank A/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D3D9C80-364B-5F84-A365-57E384D987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arn</a:t>
            </a:r>
          </a:p>
        </p:txBody>
      </p:sp>
      <p:cxnSp>
        <p:nvCxnSpPr>
          <p:cNvPr id="5" name="LineBasicStrong 7">
            <a:extLst>
              <a:ext uri="{FF2B5EF4-FFF2-40B4-BE49-F238E27FC236}">
                <a16:creationId xmlns:a16="http://schemas.microsoft.com/office/drawing/2014/main" id="{F394E0C5-6F46-CF33-006D-1FC6D26B3BBA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554736" y="1848848"/>
            <a:ext cx="11082528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CDFB99B-754E-0369-4FAF-C7849C5D9D93}"/>
              </a:ext>
            </a:extLst>
          </p:cNvPr>
          <p:cNvSpPr txBox="1"/>
          <p:nvPr/>
        </p:nvSpPr>
        <p:spPr>
          <a:xfrm>
            <a:off x="554736" y="1527659"/>
            <a:ext cx="24667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Revenue(USD M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D79542-C69A-73D9-8D02-429983F8FFDB}"/>
              </a:ext>
            </a:extLst>
          </p:cNvPr>
          <p:cNvSpPr txBox="1"/>
          <p:nvPr/>
        </p:nvSpPr>
        <p:spPr>
          <a:xfrm>
            <a:off x="4457501" y="1527659"/>
            <a:ext cx="24667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EBITDA Margin,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4F7D38-DE45-2D60-92FA-616935625FD9}"/>
              </a:ext>
            </a:extLst>
          </p:cNvPr>
          <p:cNvSpPr txBox="1"/>
          <p:nvPr/>
        </p:nvSpPr>
        <p:spPr>
          <a:xfrm>
            <a:off x="7627592" y="1512270"/>
            <a:ext cx="400967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Market Capitalization,FY20-21(USD Mn)</a:t>
            </a:r>
          </a:p>
        </p:txBody>
      </p:sp>
      <p:cxnSp>
        <p:nvCxnSpPr>
          <p:cNvPr id="12" name="LineContentSeparatorDefaultVertical 270">
            <a:extLst>
              <a:ext uri="{FF2B5EF4-FFF2-40B4-BE49-F238E27FC236}">
                <a16:creationId xmlns:a16="http://schemas.microsoft.com/office/drawing/2014/main" id="{7D8EA43A-14E6-E2C4-4D14-517475568E1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096575" y="1848848"/>
            <a:ext cx="0" cy="4563635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ContentSeparatorDefaultVertical 270">
            <a:extLst>
              <a:ext uri="{FF2B5EF4-FFF2-40B4-BE49-F238E27FC236}">
                <a16:creationId xmlns:a16="http://schemas.microsoft.com/office/drawing/2014/main" id="{2DB51F9C-38DF-E9E2-B6CA-98BFC6F066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7627594" y="1848848"/>
            <a:ext cx="0" cy="4563635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397F4670-D51C-CAA9-1C68-34B9E6C63A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8260458"/>
              </p:ext>
            </p:extLst>
          </p:nvPr>
        </p:nvGraphicFramePr>
        <p:xfrm>
          <a:off x="590333" y="1846053"/>
          <a:ext cx="3607454" cy="4358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999B95BB-3FA0-B9E9-8AA9-E525C70640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7226161"/>
              </p:ext>
            </p:extLst>
          </p:nvPr>
        </p:nvGraphicFramePr>
        <p:xfrm>
          <a:off x="7704033" y="1986407"/>
          <a:ext cx="4138276" cy="4225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50FED0B-344A-CF94-935A-3A70807928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3633847"/>
              </p:ext>
            </p:extLst>
          </p:nvPr>
        </p:nvGraphicFramePr>
        <p:xfrm>
          <a:off x="4236006" y="1853518"/>
          <a:ext cx="3391586" cy="4358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05224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2BEF3-5B6D-F81B-334A-86A99DCE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Danske Bank A/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D3D9C80-364B-5F84-A365-57E384D987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arn</a:t>
            </a:r>
          </a:p>
        </p:txBody>
      </p:sp>
      <p:cxnSp>
        <p:nvCxnSpPr>
          <p:cNvPr id="5" name="LineBasicStrong 7">
            <a:extLst>
              <a:ext uri="{FF2B5EF4-FFF2-40B4-BE49-F238E27FC236}">
                <a16:creationId xmlns:a16="http://schemas.microsoft.com/office/drawing/2014/main" id="{F394E0C5-6F46-CF33-006D-1FC6D26B3BBA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554736" y="2496742"/>
            <a:ext cx="11082528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CDFB99B-754E-0369-4FAF-C7849C5D9D93}"/>
              </a:ext>
            </a:extLst>
          </p:cNvPr>
          <p:cNvSpPr txBox="1"/>
          <p:nvPr/>
        </p:nvSpPr>
        <p:spPr>
          <a:xfrm>
            <a:off x="554736" y="2124804"/>
            <a:ext cx="246676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Annual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D79542-C69A-73D9-8D02-429983F8FFDB}"/>
              </a:ext>
            </a:extLst>
          </p:cNvPr>
          <p:cNvSpPr txBox="1"/>
          <p:nvPr/>
        </p:nvSpPr>
        <p:spPr>
          <a:xfrm>
            <a:off x="4980608" y="2127352"/>
            <a:ext cx="176592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3 year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4F7D38-DE45-2D60-92FA-616935625FD9}"/>
              </a:ext>
            </a:extLst>
          </p:cNvPr>
          <p:cNvSpPr txBox="1"/>
          <p:nvPr/>
        </p:nvSpPr>
        <p:spPr>
          <a:xfrm>
            <a:off x="8127654" y="2124804"/>
            <a:ext cx="35096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5 years</a:t>
            </a:r>
            <a:endParaRPr lang="en-US" dirty="0"/>
          </a:p>
        </p:txBody>
      </p:sp>
      <p:cxnSp>
        <p:nvCxnSpPr>
          <p:cNvPr id="12" name="LineContentSeparatorDefaultVertical 270">
            <a:extLst>
              <a:ext uri="{FF2B5EF4-FFF2-40B4-BE49-F238E27FC236}">
                <a16:creationId xmlns:a16="http://schemas.microsoft.com/office/drawing/2014/main" id="{7D8EA43A-14E6-E2C4-4D14-517475568E1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980609" y="2536554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ContentSeparatorDefaultVertical 270">
            <a:extLst>
              <a:ext uri="{FF2B5EF4-FFF2-40B4-BE49-F238E27FC236}">
                <a16:creationId xmlns:a16="http://schemas.microsoft.com/office/drawing/2014/main" id="{2DB51F9C-38DF-E9E2-B6CA-98BFC6F066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27655" y="2517628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venue">
            <a:extLst>
              <a:ext uri="{FF2B5EF4-FFF2-40B4-BE49-F238E27FC236}">
                <a16:creationId xmlns:a16="http://schemas.microsoft.com/office/drawing/2014/main" id="{ED280777-7806-C2F8-6FFF-D15BA5E12B6C}"/>
              </a:ext>
            </a:extLst>
          </p:cNvPr>
          <p:cNvSpPr>
            <a:spLocks/>
          </p:cNvSpPr>
          <p:nvPr/>
        </p:nvSpPr>
        <p:spPr>
          <a:xfrm>
            <a:off x="554736" y="1456817"/>
            <a:ext cx="1188339" cy="342194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Revenue</a:t>
            </a:r>
          </a:p>
        </p:txBody>
      </p:sp>
      <p:sp>
        <p:nvSpPr>
          <p:cNvPr id="18" name="Size">
            <a:extLst>
              <a:ext uri="{FF2B5EF4-FFF2-40B4-BE49-F238E27FC236}">
                <a16:creationId xmlns:a16="http://schemas.microsoft.com/office/drawing/2014/main" id="{C6D075E2-0C22-B385-60E1-C94E5A97D286}"/>
              </a:ext>
            </a:extLst>
          </p:cNvPr>
          <p:cNvSpPr>
            <a:spLocks/>
          </p:cNvSpPr>
          <p:nvPr/>
        </p:nvSpPr>
        <p:spPr>
          <a:xfrm>
            <a:off x="1848782" y="1456818"/>
            <a:ext cx="1294468" cy="342193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Size</a:t>
            </a:r>
          </a:p>
        </p:txBody>
      </p:sp>
      <p:sp>
        <p:nvSpPr>
          <p:cNvPr id="19" name="Growth">
            <a:extLst>
              <a:ext uri="{FF2B5EF4-FFF2-40B4-BE49-F238E27FC236}">
                <a16:creationId xmlns:a16="http://schemas.microsoft.com/office/drawing/2014/main" id="{DD49B06B-E3EA-34C0-1693-32B755E7FFE0}"/>
              </a:ext>
            </a:extLst>
          </p:cNvPr>
          <p:cNvSpPr>
            <a:spLocks/>
          </p:cNvSpPr>
          <p:nvPr/>
        </p:nvSpPr>
        <p:spPr>
          <a:xfrm>
            <a:off x="3259307" y="1456817"/>
            <a:ext cx="1250720" cy="342193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Growth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572695F7-36AA-DB2E-F5FD-22F23EB2C1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2149445"/>
              </p:ext>
            </p:extLst>
          </p:nvPr>
        </p:nvGraphicFramePr>
        <p:xfrm>
          <a:off x="554735" y="2576374"/>
          <a:ext cx="4425873" cy="3836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0582665-A000-56B9-F0EC-1142AEEBD1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4523001"/>
              </p:ext>
            </p:extLst>
          </p:nvPr>
        </p:nvGraphicFramePr>
        <p:xfrm>
          <a:off x="4980609" y="2560993"/>
          <a:ext cx="3062817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D51DD10F-C1FE-A7B8-C3D3-1D6AEEEC76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5223577"/>
              </p:ext>
            </p:extLst>
          </p:nvPr>
        </p:nvGraphicFramePr>
        <p:xfrm>
          <a:off x="8269037" y="2618145"/>
          <a:ext cx="3368226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A47268F-49CA-99BC-DF15-40468DE50343}"/>
              </a:ext>
            </a:extLst>
          </p:cNvPr>
          <p:cNvSpPr txBox="1"/>
          <p:nvPr/>
        </p:nvSpPr>
        <p:spPr>
          <a:xfrm>
            <a:off x="554735" y="6503526"/>
            <a:ext cx="2588515" cy="1721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dirty="0"/>
              <a:t>Source: Corporate Performance Analytics</a:t>
            </a:r>
          </a:p>
        </p:txBody>
      </p:sp>
    </p:spTree>
    <p:extLst>
      <p:ext uri="{BB962C8B-B14F-4D97-AF65-F5344CB8AC3E}">
        <p14:creationId xmlns:p14="http://schemas.microsoft.com/office/powerpoint/2010/main" val="15500872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2BEF3-5B6D-F81B-334A-86A99DCE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Danske Bank A/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D3D9C80-364B-5F84-A365-57E384D987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arn</a:t>
            </a:r>
          </a:p>
        </p:txBody>
      </p:sp>
      <p:cxnSp>
        <p:nvCxnSpPr>
          <p:cNvPr id="5" name="LineBasicStrong 7">
            <a:extLst>
              <a:ext uri="{FF2B5EF4-FFF2-40B4-BE49-F238E27FC236}">
                <a16:creationId xmlns:a16="http://schemas.microsoft.com/office/drawing/2014/main" id="{F394E0C5-6F46-CF33-006D-1FC6D26B3BBA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554736" y="2496742"/>
            <a:ext cx="11082528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CDFB99B-754E-0369-4FAF-C7849C5D9D93}"/>
              </a:ext>
            </a:extLst>
          </p:cNvPr>
          <p:cNvSpPr txBox="1"/>
          <p:nvPr/>
        </p:nvSpPr>
        <p:spPr>
          <a:xfrm>
            <a:off x="554735" y="2196466"/>
            <a:ext cx="35743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Adjusted revenue </a:t>
            </a:r>
            <a:r>
              <a:rPr lang="en-US" dirty="0"/>
              <a:t>(USD Mn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D79542-C69A-73D9-8D02-429983F8FFDB}"/>
              </a:ext>
            </a:extLst>
          </p:cNvPr>
          <p:cNvSpPr txBox="1"/>
          <p:nvPr/>
        </p:nvSpPr>
        <p:spPr>
          <a:xfrm>
            <a:off x="4980607" y="2190608"/>
            <a:ext cx="2646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Total assets </a:t>
            </a:r>
            <a:r>
              <a:rPr lang="en-US" dirty="0"/>
              <a:t>(USD Mn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4F7D38-DE45-2D60-92FA-616935625FD9}"/>
              </a:ext>
            </a:extLst>
          </p:cNvPr>
          <p:cNvSpPr txBox="1"/>
          <p:nvPr/>
        </p:nvSpPr>
        <p:spPr>
          <a:xfrm>
            <a:off x="8127654" y="2229774"/>
            <a:ext cx="35096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FTE </a:t>
            </a:r>
            <a:r>
              <a:rPr lang="en-US" dirty="0"/>
              <a:t>(Count)</a:t>
            </a:r>
          </a:p>
        </p:txBody>
      </p:sp>
      <p:cxnSp>
        <p:nvCxnSpPr>
          <p:cNvPr id="12" name="LineContentSeparatorDefaultVertical 270">
            <a:extLst>
              <a:ext uri="{FF2B5EF4-FFF2-40B4-BE49-F238E27FC236}">
                <a16:creationId xmlns:a16="http://schemas.microsoft.com/office/drawing/2014/main" id="{7D8EA43A-14E6-E2C4-4D14-517475568E1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980609" y="2536554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ContentSeparatorDefaultVertical 270">
            <a:extLst>
              <a:ext uri="{FF2B5EF4-FFF2-40B4-BE49-F238E27FC236}">
                <a16:creationId xmlns:a16="http://schemas.microsoft.com/office/drawing/2014/main" id="{2DB51F9C-38DF-E9E2-B6CA-98BFC6F066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27655" y="2517628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Growth">
            <a:extLst>
              <a:ext uri="{FF2B5EF4-FFF2-40B4-BE49-F238E27FC236}">
                <a16:creationId xmlns:a16="http://schemas.microsoft.com/office/drawing/2014/main" id="{DD49B06B-E3EA-34C0-1693-32B755E7FFE0}"/>
              </a:ext>
            </a:extLst>
          </p:cNvPr>
          <p:cNvSpPr>
            <a:spLocks/>
          </p:cNvSpPr>
          <p:nvPr/>
        </p:nvSpPr>
        <p:spPr>
          <a:xfrm>
            <a:off x="3259307" y="1456817"/>
            <a:ext cx="1250720" cy="342193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Growth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572695F7-36AA-DB2E-F5FD-22F23EB2C1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3251870"/>
              </p:ext>
            </p:extLst>
          </p:nvPr>
        </p:nvGraphicFramePr>
        <p:xfrm>
          <a:off x="554735" y="2576374"/>
          <a:ext cx="4425873" cy="3836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0582665-A000-56B9-F0EC-1142AEEBD179}"/>
              </a:ext>
            </a:extLst>
          </p:cNvPr>
          <p:cNvGraphicFramePr/>
          <p:nvPr/>
        </p:nvGraphicFramePr>
        <p:xfrm>
          <a:off x="4980609" y="2560993"/>
          <a:ext cx="3062817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D51DD10F-C1FE-A7B8-C3D3-1D6AEEEC7688}"/>
              </a:ext>
            </a:extLst>
          </p:cNvPr>
          <p:cNvGraphicFramePr/>
          <p:nvPr/>
        </p:nvGraphicFramePr>
        <p:xfrm>
          <a:off x="8269037" y="2618145"/>
          <a:ext cx="3368226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A47268F-49CA-99BC-DF15-40468DE50343}"/>
              </a:ext>
            </a:extLst>
          </p:cNvPr>
          <p:cNvSpPr txBox="1"/>
          <p:nvPr/>
        </p:nvSpPr>
        <p:spPr>
          <a:xfrm>
            <a:off x="554735" y="6503526"/>
            <a:ext cx="2588515" cy="1721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dirty="0"/>
              <a:t>Source: Corporate Performance Analytics</a:t>
            </a:r>
          </a:p>
        </p:txBody>
      </p:sp>
      <p:sp>
        <p:nvSpPr>
          <p:cNvPr id="20" name="Size">
            <a:extLst>
              <a:ext uri="{FF2B5EF4-FFF2-40B4-BE49-F238E27FC236}">
                <a16:creationId xmlns:a16="http://schemas.microsoft.com/office/drawing/2014/main" id="{A64B9E60-35D6-5EAC-9B54-644197C4AE72}"/>
              </a:ext>
            </a:extLst>
          </p:cNvPr>
          <p:cNvSpPr>
            <a:spLocks/>
          </p:cNvSpPr>
          <p:nvPr/>
        </p:nvSpPr>
        <p:spPr>
          <a:xfrm>
            <a:off x="1891856" y="1456818"/>
            <a:ext cx="1250720" cy="346616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Size</a:t>
            </a:r>
          </a:p>
        </p:txBody>
      </p:sp>
      <p:sp>
        <p:nvSpPr>
          <p:cNvPr id="21" name="Revenue">
            <a:extLst>
              <a:ext uri="{FF2B5EF4-FFF2-40B4-BE49-F238E27FC236}">
                <a16:creationId xmlns:a16="http://schemas.microsoft.com/office/drawing/2014/main" id="{DF5504DA-CEF8-B514-1C1C-2F97BFAE942E}"/>
              </a:ext>
            </a:extLst>
          </p:cNvPr>
          <p:cNvSpPr>
            <a:spLocks/>
          </p:cNvSpPr>
          <p:nvPr/>
        </p:nvSpPr>
        <p:spPr>
          <a:xfrm>
            <a:off x="524405" y="1456816"/>
            <a:ext cx="1250720" cy="346617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Revenue</a:t>
            </a:r>
          </a:p>
        </p:txBody>
      </p:sp>
    </p:spTree>
    <p:extLst>
      <p:ext uri="{BB962C8B-B14F-4D97-AF65-F5344CB8AC3E}">
        <p14:creationId xmlns:p14="http://schemas.microsoft.com/office/powerpoint/2010/main" val="1623146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2BEF3-5B6D-F81B-334A-86A99DCEB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Danske Bank A/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D3D9C80-364B-5F84-A365-57E384D987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arn</a:t>
            </a:r>
          </a:p>
        </p:txBody>
      </p:sp>
      <p:cxnSp>
        <p:nvCxnSpPr>
          <p:cNvPr id="5" name="LineBasicStrong 7">
            <a:extLst>
              <a:ext uri="{FF2B5EF4-FFF2-40B4-BE49-F238E27FC236}">
                <a16:creationId xmlns:a16="http://schemas.microsoft.com/office/drawing/2014/main" id="{F394E0C5-6F46-CF33-006D-1FC6D26B3BBA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554736" y="2496742"/>
            <a:ext cx="11082528" cy="0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CDFB99B-754E-0369-4FAF-C7849C5D9D93}"/>
              </a:ext>
            </a:extLst>
          </p:cNvPr>
          <p:cNvSpPr txBox="1"/>
          <p:nvPr/>
        </p:nvSpPr>
        <p:spPr>
          <a:xfrm>
            <a:off x="554735" y="2196466"/>
            <a:ext cx="357435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Asset Growth </a:t>
            </a:r>
            <a:r>
              <a:rPr lang="en-US" dirty="0"/>
              <a:t>(%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D79542-C69A-73D9-8D02-429983F8FFDB}"/>
              </a:ext>
            </a:extLst>
          </p:cNvPr>
          <p:cNvSpPr txBox="1"/>
          <p:nvPr/>
        </p:nvSpPr>
        <p:spPr>
          <a:xfrm>
            <a:off x="4980607" y="2190608"/>
            <a:ext cx="2646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FTE growth </a:t>
            </a:r>
            <a:r>
              <a:rPr lang="en-US" dirty="0"/>
              <a:t>(%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14F7D38-DE45-2D60-92FA-616935625FD9}"/>
              </a:ext>
            </a:extLst>
          </p:cNvPr>
          <p:cNvSpPr txBox="1"/>
          <p:nvPr/>
        </p:nvSpPr>
        <p:spPr>
          <a:xfrm>
            <a:off x="8127654" y="2229774"/>
            <a:ext cx="35096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Revenue growth </a:t>
            </a:r>
            <a:r>
              <a:rPr lang="en-US" dirty="0"/>
              <a:t>(%)</a:t>
            </a:r>
          </a:p>
        </p:txBody>
      </p:sp>
      <p:cxnSp>
        <p:nvCxnSpPr>
          <p:cNvPr id="12" name="LineContentSeparatorDefaultVertical 270">
            <a:extLst>
              <a:ext uri="{FF2B5EF4-FFF2-40B4-BE49-F238E27FC236}">
                <a16:creationId xmlns:a16="http://schemas.microsoft.com/office/drawing/2014/main" id="{7D8EA43A-14E6-E2C4-4D14-517475568E1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980609" y="2536554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ContentSeparatorDefaultVertical 270">
            <a:extLst>
              <a:ext uri="{FF2B5EF4-FFF2-40B4-BE49-F238E27FC236}">
                <a16:creationId xmlns:a16="http://schemas.microsoft.com/office/drawing/2014/main" id="{2DB51F9C-38DF-E9E2-B6CA-98BFC6F066A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8127655" y="2517628"/>
            <a:ext cx="0" cy="3915741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572695F7-36AA-DB2E-F5FD-22F23EB2C180}"/>
              </a:ext>
            </a:extLst>
          </p:cNvPr>
          <p:cNvGraphicFramePr/>
          <p:nvPr/>
        </p:nvGraphicFramePr>
        <p:xfrm>
          <a:off x="554735" y="2576374"/>
          <a:ext cx="4425873" cy="3836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0582665-A000-56B9-F0EC-1142AEEBD179}"/>
              </a:ext>
            </a:extLst>
          </p:cNvPr>
          <p:cNvGraphicFramePr/>
          <p:nvPr/>
        </p:nvGraphicFramePr>
        <p:xfrm>
          <a:off x="4980609" y="2560993"/>
          <a:ext cx="3062817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D51DD10F-C1FE-A7B8-C3D3-1D6AEEEC7688}"/>
              </a:ext>
            </a:extLst>
          </p:cNvPr>
          <p:cNvGraphicFramePr/>
          <p:nvPr/>
        </p:nvGraphicFramePr>
        <p:xfrm>
          <a:off x="8269037" y="2618145"/>
          <a:ext cx="3368226" cy="381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A47268F-49CA-99BC-DF15-40468DE50343}"/>
              </a:ext>
            </a:extLst>
          </p:cNvPr>
          <p:cNvSpPr txBox="1"/>
          <p:nvPr/>
        </p:nvSpPr>
        <p:spPr>
          <a:xfrm>
            <a:off x="554735" y="6503526"/>
            <a:ext cx="2588515" cy="1721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dirty="0"/>
              <a:t>Source: Corporate Performance Analytics</a:t>
            </a:r>
          </a:p>
        </p:txBody>
      </p:sp>
      <p:sp>
        <p:nvSpPr>
          <p:cNvPr id="21" name="Revenue">
            <a:extLst>
              <a:ext uri="{FF2B5EF4-FFF2-40B4-BE49-F238E27FC236}">
                <a16:creationId xmlns:a16="http://schemas.microsoft.com/office/drawing/2014/main" id="{DF5504DA-CEF8-B514-1C1C-2F97BFAE942E}"/>
              </a:ext>
            </a:extLst>
          </p:cNvPr>
          <p:cNvSpPr>
            <a:spLocks/>
          </p:cNvSpPr>
          <p:nvPr/>
        </p:nvSpPr>
        <p:spPr>
          <a:xfrm>
            <a:off x="524405" y="1456816"/>
            <a:ext cx="1250720" cy="346617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Revenue</a:t>
            </a:r>
          </a:p>
        </p:txBody>
      </p:sp>
      <p:sp>
        <p:nvSpPr>
          <p:cNvPr id="17" name="Size">
            <a:extLst>
              <a:ext uri="{FF2B5EF4-FFF2-40B4-BE49-F238E27FC236}">
                <a16:creationId xmlns:a16="http://schemas.microsoft.com/office/drawing/2014/main" id="{F7E9335F-2909-E80F-DC6C-56E9B0FCD8AF}"/>
              </a:ext>
            </a:extLst>
          </p:cNvPr>
          <p:cNvSpPr>
            <a:spLocks/>
          </p:cNvSpPr>
          <p:nvPr/>
        </p:nvSpPr>
        <p:spPr>
          <a:xfrm>
            <a:off x="1892530" y="1456816"/>
            <a:ext cx="1250720" cy="349738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Size</a:t>
            </a:r>
          </a:p>
        </p:txBody>
      </p:sp>
      <p:sp>
        <p:nvSpPr>
          <p:cNvPr id="18" name="Growth">
            <a:extLst>
              <a:ext uri="{FF2B5EF4-FFF2-40B4-BE49-F238E27FC236}">
                <a16:creationId xmlns:a16="http://schemas.microsoft.com/office/drawing/2014/main" id="{175691C0-AFCA-FDDD-F16B-28B9ACDD6873}"/>
              </a:ext>
            </a:extLst>
          </p:cNvPr>
          <p:cNvSpPr>
            <a:spLocks/>
          </p:cNvSpPr>
          <p:nvPr/>
        </p:nvSpPr>
        <p:spPr>
          <a:xfrm>
            <a:off x="3290710" y="1452084"/>
            <a:ext cx="1250720" cy="349738"/>
          </a:xfrm>
          <a:prstGeom prst="rect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Growth</a:t>
            </a:r>
          </a:p>
        </p:txBody>
      </p:sp>
    </p:spTree>
    <p:extLst>
      <p:ext uri="{BB962C8B-B14F-4D97-AF65-F5344CB8AC3E}">
        <p14:creationId xmlns:p14="http://schemas.microsoft.com/office/powerpoint/2010/main" val="4289949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BCBD6-C342-45CF-322C-646F0BB9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C6A650E-C12D-B3EE-2F8E-7F8059D06C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8009A15-C757-424C-40C7-1F42DD875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765857"/>
              </p:ext>
            </p:extLst>
          </p:nvPr>
        </p:nvGraphicFramePr>
        <p:xfrm>
          <a:off x="554736" y="1891859"/>
          <a:ext cx="11082528" cy="542611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3694176">
                  <a:extLst>
                    <a:ext uri="{9D8B030D-6E8A-4147-A177-3AD203B41FA5}">
                      <a16:colId xmlns:a16="http://schemas.microsoft.com/office/drawing/2014/main" val="3092691507"/>
                    </a:ext>
                  </a:extLst>
                </a:gridCol>
                <a:gridCol w="3694176">
                  <a:extLst>
                    <a:ext uri="{9D8B030D-6E8A-4147-A177-3AD203B41FA5}">
                      <a16:colId xmlns:a16="http://schemas.microsoft.com/office/drawing/2014/main" val="3332219319"/>
                    </a:ext>
                  </a:extLst>
                </a:gridCol>
                <a:gridCol w="3694176">
                  <a:extLst>
                    <a:ext uri="{9D8B030D-6E8A-4147-A177-3AD203B41FA5}">
                      <a16:colId xmlns:a16="http://schemas.microsoft.com/office/drawing/2014/main" val="2419392205"/>
                    </a:ext>
                  </a:extLst>
                </a:gridCol>
              </a:tblGrid>
              <a:tr h="5426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velopments/news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te</a:t>
                      </a:r>
                      <a:endParaRPr lang="en-US" sz="16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nk</a:t>
                      </a:r>
                      <a:endParaRPr lang="en-US" sz="16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606650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BBBA41C-F9FD-FA19-FFE1-7D453291F95F}"/>
              </a:ext>
            </a:extLst>
          </p:cNvPr>
          <p:cNvSpPr txBox="1"/>
          <p:nvPr/>
        </p:nvSpPr>
        <p:spPr>
          <a:xfrm>
            <a:off x="554736" y="6537434"/>
            <a:ext cx="1429407" cy="13819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00" dirty="0" err="1"/>
              <a:t>Source:Fractiv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266550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BCBD6-C342-45CF-322C-646F0BB9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C6A650E-C12D-B3EE-2F8E-7F8059D06C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8009A15-C757-424C-40C7-1F42DD875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6431208"/>
              </p:ext>
            </p:extLst>
          </p:nvPr>
        </p:nvGraphicFramePr>
        <p:xfrm>
          <a:off x="554735" y="1709456"/>
          <a:ext cx="11082528" cy="613645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1385316">
                  <a:extLst>
                    <a:ext uri="{9D8B030D-6E8A-4147-A177-3AD203B41FA5}">
                      <a16:colId xmlns:a16="http://schemas.microsoft.com/office/drawing/2014/main" val="4177575063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2831041594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3321439772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1442511564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3810261689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2762812462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3092691507"/>
                    </a:ext>
                  </a:extLst>
                </a:gridCol>
                <a:gridCol w="1385316">
                  <a:extLst>
                    <a:ext uri="{9D8B030D-6E8A-4147-A177-3AD203B41FA5}">
                      <a16:colId xmlns:a16="http://schemas.microsoft.com/office/drawing/2014/main" val="3332219319"/>
                    </a:ext>
                  </a:extLst>
                </a:gridCol>
              </a:tblGrid>
              <a:tr h="613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uyer company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rget company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nounce date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losing date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mments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sideration to SH </a:t>
                      </a:r>
                      <a:r>
                        <a:rPr kumimoji="0" lang="en-US" sz="12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in </a:t>
                      </a:r>
                      <a:r>
                        <a:rPr kumimoji="0" lang="en-US" sz="120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SDm</a:t>
                      </a:r>
                      <a:r>
                        <a:rPr kumimoji="0" lang="en-US" sz="12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Segoe UI" panose="020B0502040204020203" pitchFamily="34" charset="0"/>
                        <a:buChar char="​"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rket Cap </a:t>
                      </a:r>
                      <a:r>
                        <a:rPr kumimoji="0" lang="en-US" sz="12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in </a:t>
                      </a:r>
                      <a:r>
                        <a:rPr kumimoji="0" lang="en-US" sz="120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SDm</a:t>
                      </a:r>
                      <a:r>
                        <a:rPr kumimoji="0" lang="en-US" sz="12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tensity</a:t>
                      </a:r>
                      <a:endParaRPr kumimoji="0" lang="en-US" sz="12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606650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ECD7346-4CF0-0E24-CD63-6EA2FF321FBD}"/>
              </a:ext>
            </a:extLst>
          </p:cNvPr>
          <p:cNvSpPr txBox="1"/>
          <p:nvPr/>
        </p:nvSpPr>
        <p:spPr>
          <a:xfrm>
            <a:off x="1660634" y="646386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9" name="Footnote - 1">
            <a:extLst>
              <a:ext uri="{FF2B5EF4-FFF2-40B4-BE49-F238E27FC236}">
                <a16:creationId xmlns:a16="http://schemas.microsoft.com/office/drawing/2014/main" id="{EEBD9D03-09AA-F1A9-018E-44603040F00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Note: This page will be integrated with the CPA M&amp;A Transactions database</a:t>
            </a:r>
          </a:p>
        </p:txBody>
      </p:sp>
      <p:sp>
        <p:nvSpPr>
          <p:cNvPr id="10" name="Source">
            <a:extLst>
              <a:ext uri="{FF2B5EF4-FFF2-40B4-BE49-F238E27FC236}">
                <a16:creationId xmlns:a16="http://schemas.microsoft.com/office/drawing/2014/main" id="{90997B99-BA2B-DC47-C3A4-A627A821E8C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Corporate Performance Analytics</a:t>
            </a:r>
          </a:p>
        </p:txBody>
      </p:sp>
    </p:spTree>
    <p:extLst>
      <p:ext uri="{BB962C8B-B14F-4D97-AF65-F5344CB8AC3E}">
        <p14:creationId xmlns:p14="http://schemas.microsoft.com/office/powerpoint/2010/main" val="2383300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BCBD6-C342-45CF-322C-646F0BB9F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C6A650E-C12D-B3EE-2F8E-7F8059D06C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8009A15-C757-424C-40C7-1F42DD8756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507316"/>
              </p:ext>
            </p:extLst>
          </p:nvPr>
        </p:nvGraphicFramePr>
        <p:xfrm>
          <a:off x="554736" y="1891859"/>
          <a:ext cx="11082528" cy="542611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3694176">
                  <a:extLst>
                    <a:ext uri="{9D8B030D-6E8A-4147-A177-3AD203B41FA5}">
                      <a16:colId xmlns:a16="http://schemas.microsoft.com/office/drawing/2014/main" val="3092691507"/>
                    </a:ext>
                  </a:extLst>
                </a:gridCol>
                <a:gridCol w="3694176">
                  <a:extLst>
                    <a:ext uri="{9D8B030D-6E8A-4147-A177-3AD203B41FA5}">
                      <a16:colId xmlns:a16="http://schemas.microsoft.com/office/drawing/2014/main" val="3332219319"/>
                    </a:ext>
                  </a:extLst>
                </a:gridCol>
                <a:gridCol w="3694176">
                  <a:extLst>
                    <a:ext uri="{9D8B030D-6E8A-4147-A177-3AD203B41FA5}">
                      <a16:colId xmlns:a16="http://schemas.microsoft.com/office/drawing/2014/main" val="2419392205"/>
                    </a:ext>
                  </a:extLst>
                </a:gridCol>
              </a:tblGrid>
              <a:tr h="5426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velopments/news</a:t>
                      </a: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hange</a:t>
                      </a:r>
                      <a:endParaRPr lang="en-US" sz="16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nk</a:t>
                      </a:r>
                      <a:endParaRPr lang="en-US" sz="16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606650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ECD7346-4CF0-0E24-CD63-6EA2FF321FBD}"/>
              </a:ext>
            </a:extLst>
          </p:cNvPr>
          <p:cNvSpPr txBox="1"/>
          <p:nvPr/>
        </p:nvSpPr>
        <p:spPr>
          <a:xfrm>
            <a:off x="1660634" y="646386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8" name="Source">
            <a:extLst>
              <a:ext uri="{FF2B5EF4-FFF2-40B4-BE49-F238E27FC236}">
                <a16:creationId xmlns:a16="http://schemas.microsoft.com/office/drawing/2014/main" id="{573C5ACD-78BF-CCEA-3299-36F95AE5C8D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oardex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051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E1CF7-AEEF-D2BC-ADCF-8B42B9D1F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ount Strategy and Planning – Citigroup Inc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268FCB-4322-564F-7AFC-A3C25B7438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E3FAB3E-D560-EE94-13A7-D8E6664F560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69D35F-85FB-5218-961E-42F24E78AB86}"/>
              </a:ext>
            </a:extLst>
          </p:cNvPr>
          <p:cNvSpPr txBox="1"/>
          <p:nvPr/>
        </p:nvSpPr>
        <p:spPr>
          <a:xfrm flipH="1">
            <a:off x="554733" y="1385887"/>
            <a:ext cx="3917253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en-US" sz="1600" b="1" dirty="0"/>
              <a:t>Industry Specific Offering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30B8DB-8055-3EC1-97FF-D78005CEBAE1}"/>
              </a:ext>
            </a:extLst>
          </p:cNvPr>
          <p:cNvSpPr/>
          <p:nvPr/>
        </p:nvSpPr>
        <p:spPr>
          <a:xfrm>
            <a:off x="554733" y="1662886"/>
            <a:ext cx="11203880" cy="4766489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310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VI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Default Them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Default Theme" id="{B2A94A4B-591B-CB42-BA4B-7B15D817ED41}" vid="{8A430B29-55F2-D04A-9E3B-15721792013F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248</TotalTime>
  <Words>461</Words>
  <Application>Microsoft Macintosh PowerPoint</Application>
  <PresentationFormat>Widescreen</PresentationFormat>
  <Paragraphs>11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Georgia</vt:lpstr>
      <vt:lpstr>Segoe UI</vt:lpstr>
      <vt:lpstr>Wingdings</vt:lpstr>
      <vt:lpstr>Default Theme</vt:lpstr>
      <vt:lpstr>Contrast</vt:lpstr>
      <vt:lpstr>think-cell Slide</vt:lpstr>
      <vt:lpstr>Sales2.0 platform ppt</vt:lpstr>
      <vt:lpstr>Account strategy and planning – Danske Bank A/S</vt:lpstr>
      <vt:lpstr>Account strategy and planning – Danske Bank A/S</vt:lpstr>
      <vt:lpstr>Account strategy and planning – Danske Bank A/S</vt:lpstr>
      <vt:lpstr>Account strategy and planning – Danske Bank A/S</vt:lpstr>
      <vt:lpstr>Account Strategy and Planning – Citigroup Inc.</vt:lpstr>
      <vt:lpstr>Account Strategy and Planning – Citigroup Inc.</vt:lpstr>
      <vt:lpstr>Account Strategy and Planning – Citigroup Inc.</vt:lpstr>
      <vt:lpstr>Account Strategy and Planning – Citigroup Inc.</vt:lpstr>
      <vt:lpstr>Account Strategy and Planning – Citigroup Inc.</vt:lpstr>
      <vt:lpstr>Account Strategy and Planning – Citigroup Inc.</vt:lpstr>
      <vt:lpstr>Account Strategy and Planning – Citigroup Inc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es2.0 platform ppt</dc:title>
  <dc:creator>Venkata Ramesh Thanniru</dc:creator>
  <cp:lastModifiedBy>Venkata Ramesh Thanniru</cp:lastModifiedBy>
  <cp:revision>48</cp:revision>
  <dcterms:created xsi:type="dcterms:W3CDTF">2022-04-14T09:22:35Z</dcterms:created>
  <dcterms:modified xsi:type="dcterms:W3CDTF">2022-04-22T11:51:54Z</dcterms:modified>
</cp:coreProperties>
</file>